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66" r:id="rId4"/>
  </p:sldMasterIdLst>
  <p:notesMasterIdLst>
    <p:notesMasterId r:id="rId6"/>
  </p:notesMasterIdLst>
  <p:handoutMasterIdLst>
    <p:handoutMasterId r:id="rId7"/>
  </p:handoutMasterIdLst>
  <p:sldIdLst>
    <p:sldId id="27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F34"/>
    <a:srgbClr val="F7B900"/>
    <a:srgbClr val="333333"/>
    <a:srgbClr val="4B4B4B"/>
    <a:srgbClr val="43B649"/>
    <a:srgbClr val="6D2077"/>
    <a:srgbClr val="32B5FC"/>
    <a:srgbClr val="297DFD"/>
    <a:srgbClr val="004C97"/>
    <a:srgbClr val="84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38" autoAdjust="0"/>
  </p:normalViewPr>
  <p:slideViewPr>
    <p:cSldViewPr>
      <p:cViewPr varScale="1">
        <p:scale>
          <a:sx n="116" d="100"/>
          <a:sy n="116" d="100"/>
        </p:scale>
        <p:origin x="1500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image" Target="../media/image1.emf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3400" y="190500"/>
            <a:ext cx="34544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3400" y="647700"/>
            <a:ext cx="34544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2C5B7123-6132-48C5-BC79-663CEC96DBBE}" type="datetime1">
              <a:rPr lang="en-US" sz="1000" smtClean="0">
                <a:solidFill>
                  <a:schemeClr val="tx2"/>
                </a:solidFill>
                <a:latin typeface="+mj-lt"/>
              </a:rPr>
              <a:pPr algn="l"/>
              <a:t>8/17/2017</a:t>
            </a:fld>
            <a:endParaRPr lang="en-US" sz="10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7200" y="8686800"/>
            <a:ext cx="2767013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4263" y="8685213"/>
            <a:ext cx="2776537" cy="3063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Nr.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51305" y="26924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746146" y="6576746"/>
            <a:ext cx="2711804" cy="20338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7350" y="1104900"/>
            <a:ext cx="6051550" cy="5372100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36997" y="8685213"/>
            <a:ext cx="2668587" cy="306387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90525" y="323850"/>
            <a:ext cx="3695700" cy="4572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90525" y="781050"/>
            <a:ext cx="36957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fld id="{CA10FAA2-69A9-4091-ACE1-5F081119F60C}" type="datetime1">
              <a:rPr lang="en-US" smtClean="0"/>
              <a:pPr/>
              <a:t>8/17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73225" y="40640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4CB2957-52BE-4EC2-98DD-650351D91C5D}" type="datetime1">
              <a:rPr lang="en-US" smtClean="0"/>
              <a:pPr/>
              <a:t>8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605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Copyright © 2017 QuintilesIMS. All rights reserved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0" y="1"/>
            <a:ext cx="9144000" cy="2042764"/>
          </a:xfrm>
          <a:prstGeom prst="rect">
            <a:avLst/>
          </a:prstGeom>
          <a:solidFill>
            <a:srgbClr val="EBEBE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err="1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608965"/>
            <a:ext cx="8348472" cy="1325880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xfrm>
            <a:off x="494145" y="6670965"/>
            <a:ext cx="272473" cy="168563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73378" y="6674938"/>
            <a:ext cx="298037" cy="146114"/>
          </a:xfrm>
          <a:prstGeom prst="rect">
            <a:avLst/>
          </a:prstGeom>
        </p:spPr>
        <p:txBody>
          <a:bodyPr tIns="0"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2"/>
          </p:nvPr>
        </p:nvSpPr>
        <p:spPr>
          <a:xfrm>
            <a:off x="466436" y="6670964"/>
            <a:ext cx="318655" cy="168564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fld id="{604969FA-BF2E-4DB8-9060-4CE805E74307}" type="datetimeFigureOut">
              <a:rPr lang="en-US" smtClean="0"/>
              <a:pPr/>
              <a:t>8/17/2017</a:t>
            </a:fld>
            <a:endParaRPr lang="en-US" dirty="0"/>
          </a:p>
        </p:txBody>
      </p:sp>
      <p:sp>
        <p:nvSpPr>
          <p:cNvPr id="53" name="Rectangle 52"/>
          <p:cNvSpPr/>
          <p:nvPr/>
        </p:nvSpPr>
        <p:spPr bwMode="white">
          <a:xfrm>
            <a:off x="230909" y="6650182"/>
            <a:ext cx="13854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570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7, QuintilesIMS (IMS HEALTH GmbH &amp; Co. OHG). All rights reserved.</a:t>
            </a: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45643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4" r:id="rId7"/>
    <p:sldLayoutId id="2147485475" r:id="rId8"/>
    <p:sldLayoutId id="2147485477" r:id="rId9"/>
    <p:sldLayoutId id="2147485478" r:id="rId10"/>
    <p:sldLayoutId id="2147485483" r:id="rId11"/>
    <p:sldLayoutId id="2147485484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image" Target="../media/image6.emf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slideLayout" Target="../slideLayouts/slideLayout6.xml"/><Relationship Id="rId42" Type="http://schemas.openxmlformats.org/officeDocument/2006/relationships/oleObject" Target="../embeddings/oleObject6.bin"/><Relationship Id="rId47" Type="http://schemas.openxmlformats.org/officeDocument/2006/relationships/image" Target="../media/image10.emf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oleObject" Target="../embeddings/oleObject4.bin"/><Relationship Id="rId46" Type="http://schemas.openxmlformats.org/officeDocument/2006/relationships/oleObject" Target="../embeddings/oleObject8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image" Target="../media/image7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image" Target="../media/image1.emf"/><Relationship Id="rId40" Type="http://schemas.openxmlformats.org/officeDocument/2006/relationships/oleObject" Target="../embeddings/oleObject5.bin"/><Relationship Id="rId45" Type="http://schemas.openxmlformats.org/officeDocument/2006/relationships/image" Target="../media/image9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oleObject" Target="../embeddings/oleObject3.bin"/><Relationship Id="rId49" Type="http://schemas.openxmlformats.org/officeDocument/2006/relationships/image" Target="../media/image11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oleObject" Target="../embeddings/oleObject7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notesSlide" Target="../notesSlides/notesSlide1.xml"/><Relationship Id="rId43" Type="http://schemas.openxmlformats.org/officeDocument/2006/relationships/image" Target="../media/image8.emf"/><Relationship Id="rId48" Type="http://schemas.openxmlformats.org/officeDocument/2006/relationships/oleObject" Target="../embeddings/oleObject9.bin"/><Relationship Id="rId8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234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Folie" r:id="rId36" imgW="270" imgH="270" progId="TCLayout.ActiveDocument.1">
                  <p:embed/>
                </p:oleObj>
              </mc:Choice>
              <mc:Fallback>
                <p:oleObj name="think-cell Folie" r:id="rId36" imgW="270" imgH="270" progId="TCLayout.ActiveDocument.1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000" dirty="0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7, QuintilesIMS (IMS HEALTH GmbH &amp; Co. OHG). All rights reserved.</a:t>
            </a: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tientenalter und Facharztausrichtung beeinflussen Compliance von Hepatitis A-Impfungen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84046" y="1562100"/>
            <a:ext cx="1260000" cy="318673"/>
          </a:xfrm>
          <a:prstGeom prst="rect">
            <a:avLst/>
          </a:prstGeom>
          <a:solidFill>
            <a:srgbClr val="004C97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Gesamt</a:t>
            </a:r>
            <a:endParaRPr lang="de-DE" sz="1200" b="1" dirty="0">
              <a:solidFill>
                <a:prstClr val="white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912938" y="1562100"/>
            <a:ext cx="2653825" cy="318673"/>
          </a:xfrm>
          <a:prstGeom prst="rect">
            <a:avLst/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Facharztausrichtung</a:t>
            </a:r>
            <a:endParaRPr lang="de-DE" sz="1200" b="1" dirty="0">
              <a:solidFill>
                <a:prstClr val="white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798056" y="1562100"/>
            <a:ext cx="4025270" cy="318673"/>
          </a:xfrm>
          <a:prstGeom prst="rect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Patientenalter</a:t>
            </a:r>
            <a:endParaRPr lang="de-DE" sz="1200" b="1" dirty="0">
              <a:solidFill>
                <a:prstClr val="white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cxnSp>
        <p:nvCxnSpPr>
          <p:cNvPr id="12" name="Gerade Verbindung 37"/>
          <p:cNvCxnSpPr>
            <a:cxnSpLocks noChangeShapeType="1"/>
          </p:cNvCxnSpPr>
          <p:nvPr/>
        </p:nvCxnSpPr>
        <p:spPr bwMode="auto">
          <a:xfrm flipV="1">
            <a:off x="1778492" y="1520825"/>
            <a:ext cx="0" cy="4176000"/>
          </a:xfrm>
          <a:prstGeom prst="line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</p:cxnSp>
      <p:cxnSp>
        <p:nvCxnSpPr>
          <p:cNvPr id="14" name="Gerade Verbindung 37"/>
          <p:cNvCxnSpPr>
            <a:cxnSpLocks noChangeShapeType="1"/>
          </p:cNvCxnSpPr>
          <p:nvPr/>
        </p:nvCxnSpPr>
        <p:spPr bwMode="auto">
          <a:xfrm flipV="1">
            <a:off x="4682410" y="1520825"/>
            <a:ext cx="0" cy="4176000"/>
          </a:xfrm>
          <a:prstGeom prst="line">
            <a:avLst/>
          </a:prstGeom>
          <a:noFill/>
          <a:ln w="19050" algn="ctr">
            <a:solidFill>
              <a:schemeClr val="bg1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5" name="Text Box 8"/>
          <p:cNvSpPr txBox="1">
            <a:spLocks noChangeArrowheads="1"/>
          </p:cNvSpPr>
          <p:nvPr/>
        </p:nvSpPr>
        <p:spPr bwMode="auto">
          <a:xfrm rot="16200000">
            <a:off x="-665589" y="3430588"/>
            <a:ext cx="179149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1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Patienten in %</a:t>
            </a:r>
            <a:endParaRPr lang="de-DE" sz="1100" b="1" dirty="0">
              <a:solidFill>
                <a:srgbClr val="000000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39" name="Objekt 3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94735716"/>
              </p:ext>
            </p:extLst>
          </p:nvPr>
        </p:nvGraphicFramePr>
        <p:xfrm>
          <a:off x="266700" y="2057399"/>
          <a:ext cx="1476277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Chart" r:id="rId38" imgW="1476277" imgH="2657610" progId="MSGraph.Chart.8">
                  <p:embed followColorScheme="full"/>
                </p:oleObj>
              </mc:Choice>
              <mc:Fallback>
                <p:oleObj name="Chart" r:id="rId38" imgW="1476277" imgH="2657610" progId="MSGraph.Chart.8">
                  <p:embed followColorScheme="full"/>
                  <p:pic>
                    <p:nvPicPr>
                      <p:cNvPr id="0" name="Picture 52"/>
                      <p:cNvPicPr>
                        <a:picLocks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" y="2057399"/>
                        <a:ext cx="1476277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Rechteck 105"/>
          <p:cNvSpPr/>
          <p:nvPr>
            <p:custDataLst>
              <p:tags r:id="rId5"/>
            </p:custDataLst>
          </p:nvPr>
        </p:nvSpPr>
        <p:spPr bwMode="gray">
          <a:xfrm>
            <a:off x="1133475" y="231775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F5ECF65F-71F7-464A-8743-3D5C0C60A85D}" type="datetime'''''''''''''''''''''''61,''''''''1''''''%''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61,1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5" name="Rechteck 104"/>
          <p:cNvSpPr/>
          <p:nvPr>
            <p:custDataLst>
              <p:tags r:id="rId6"/>
            </p:custDataLst>
          </p:nvPr>
        </p:nvSpPr>
        <p:spPr bwMode="gray">
          <a:xfrm>
            <a:off x="500063" y="2270125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BC149134-3163-4811-93BC-83FB7463731C}" type="datetime'''''''6''''''''''''''''''''''''''2'''''',''''''''7%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62,7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hteck 39"/>
          <p:cNvSpPr/>
          <p:nvPr>
            <p:custDataLst>
              <p:tags r:id="rId7"/>
            </p:custDataLst>
          </p:nvPr>
        </p:nvSpPr>
        <p:spPr bwMode="auto">
          <a:xfrm>
            <a:off x="1014413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01E636D-2D9C-4C6E-A663-BA2C9DAE7E14}" type="datetime''''''' 2''. ''''''Impfung innerh.'' Toler''''a''n''z''''zeit 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3" name="Rechteck 42"/>
          <p:cNvSpPr/>
          <p:nvPr>
            <p:custDataLst>
              <p:tags r:id="rId8"/>
            </p:custDataLst>
          </p:nvPr>
        </p:nvSpPr>
        <p:spPr bwMode="auto">
          <a:xfrm>
            <a:off x="403225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3F74F4ED-D4E9-4A81-813E-2446E37E07EB}" type="datetime'''''''2.'''' ''''''Im''pfun''g'''' ''irg''''en''dw''ann''''''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59" name="Objekt 58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85628774"/>
              </p:ext>
            </p:extLst>
          </p:nvPr>
        </p:nvGraphicFramePr>
        <p:xfrm>
          <a:off x="1790700" y="2057399"/>
          <a:ext cx="1486001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Chart" r:id="rId40" imgW="1486001" imgH="2657610" progId="MSGraph.Chart.8">
                  <p:embed followColorScheme="full"/>
                </p:oleObj>
              </mc:Choice>
              <mc:Fallback>
                <p:oleObj name="Chart" r:id="rId40" imgW="1486001" imgH="2657610" progId="MSGraph.Chart.8">
                  <p:embed followColorScheme="full"/>
                  <p:pic>
                    <p:nvPicPr>
                      <p:cNvPr id="0" name="Picture 53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0700" y="2057399"/>
                        <a:ext cx="1486001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hteck 103"/>
          <p:cNvSpPr/>
          <p:nvPr>
            <p:custDataLst>
              <p:tags r:id="rId10"/>
            </p:custDataLst>
          </p:nvPr>
        </p:nvSpPr>
        <p:spPr bwMode="gray">
          <a:xfrm>
            <a:off x="2657475" y="245110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3E361221-9092-4F3D-BBF0-36DE237DF37F}" type="datetime'''''''''5''''''''''''''''''''''''7'''',''''''''''''5%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7,5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3" name="Rechteck 102"/>
          <p:cNvSpPr/>
          <p:nvPr>
            <p:custDataLst>
              <p:tags r:id="rId11"/>
            </p:custDataLst>
          </p:nvPr>
        </p:nvSpPr>
        <p:spPr bwMode="gray">
          <a:xfrm>
            <a:off x="2028825" y="2403475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B4409026-3110-45C4-8F98-24285B16BA33}" type="datetime'''''''''''''''58'''',''''''''''''''''''''7''''''''''''''''''%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8,7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Rechteck 59"/>
          <p:cNvSpPr/>
          <p:nvPr>
            <p:custDataLst>
              <p:tags r:id="rId12"/>
            </p:custDataLst>
          </p:nvPr>
        </p:nvSpPr>
        <p:spPr bwMode="auto">
          <a:xfrm>
            <a:off x="2538413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4EA12238-2B27-4EDE-9FB0-11F77DC93CDA}" type="datetime' ''''2. ''I''mp''fung ''''in''nerh''''.'' Toler''''an''zzeit 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Rechteck 62"/>
          <p:cNvSpPr/>
          <p:nvPr>
            <p:custDataLst>
              <p:tags r:id="rId13"/>
            </p:custDataLst>
          </p:nvPr>
        </p:nvSpPr>
        <p:spPr bwMode="auto">
          <a:xfrm>
            <a:off x="1931988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36F9D05A-A66F-4A56-B9F2-977ED9EE748C}" type="datetime'''2''. ''I''mp''''f''''''un''g'' ''i''''rgend''w''''an''''''n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64" name="Objekt 63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149676"/>
              </p:ext>
            </p:extLst>
          </p:nvPr>
        </p:nvGraphicFramePr>
        <p:xfrm>
          <a:off x="3200400" y="2057399"/>
          <a:ext cx="1457367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Chart" r:id="rId42" imgW="1457367" imgH="2657610" progId="MSGraph.Chart.8">
                  <p:embed followColorScheme="full"/>
                </p:oleObj>
              </mc:Choice>
              <mc:Fallback>
                <p:oleObj name="Chart" r:id="rId42" imgW="1457367" imgH="2657610" progId="MSGraph.Chart.8">
                  <p:embed followColorScheme="full"/>
                  <p:pic>
                    <p:nvPicPr>
                      <p:cNvPr id="0" name="Picture 54"/>
                      <p:cNvPicPr>
                        <a:picLocks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00400" y="2057399"/>
                        <a:ext cx="1457367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hteck 101"/>
          <p:cNvSpPr/>
          <p:nvPr>
            <p:custDataLst>
              <p:tags r:id="rId15"/>
            </p:custDataLst>
          </p:nvPr>
        </p:nvSpPr>
        <p:spPr bwMode="gray">
          <a:xfrm>
            <a:off x="4038600" y="208915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1D68EAA7-FB5B-4099-88C2-3BFF1F244E9E}" type="datetime'''''''''''''6''''''7'''''''''''''''',8%''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67,8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1" name="Rechteck 100"/>
          <p:cNvSpPr/>
          <p:nvPr>
            <p:custDataLst>
              <p:tags r:id="rId16"/>
            </p:custDataLst>
          </p:nvPr>
        </p:nvSpPr>
        <p:spPr bwMode="gray">
          <a:xfrm>
            <a:off x="3409950" y="2003425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D69CC214-C221-49E4-90A7-E7DCCAC5D5F2}" type="datetime'''''7''''''''''''''''''''''0,2''''''''''''''%''''''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70,2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Rechteck 64"/>
          <p:cNvSpPr/>
          <p:nvPr>
            <p:custDataLst>
              <p:tags r:id="rId17"/>
            </p:custDataLst>
          </p:nvPr>
        </p:nvSpPr>
        <p:spPr bwMode="auto">
          <a:xfrm>
            <a:off x="3919538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F37AA51F-6935-4E15-A948-4AD525CD6AF9}" type="datetime' 2.'' ''I''m''pfung in''''ne''''r''h.'' Toleran''zzei''''t 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chteck 67"/>
          <p:cNvSpPr/>
          <p:nvPr>
            <p:custDataLst>
              <p:tags r:id="rId18"/>
            </p:custDataLst>
          </p:nvPr>
        </p:nvSpPr>
        <p:spPr bwMode="auto">
          <a:xfrm>
            <a:off x="3313113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AA7532C9-8996-4313-AD46-4AAFB3DE608C}" type="datetime'2''. ''''Imp''fun''g ''''''irgen''dwa''''''nn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69" name="Objekt 68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89074014"/>
              </p:ext>
            </p:extLst>
          </p:nvPr>
        </p:nvGraphicFramePr>
        <p:xfrm>
          <a:off x="4686300" y="2057399"/>
          <a:ext cx="1476277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Chart" r:id="rId44" imgW="1476277" imgH="2657610" progId="MSGraph.Chart.8">
                  <p:embed followColorScheme="full"/>
                </p:oleObj>
              </mc:Choice>
              <mc:Fallback>
                <p:oleObj name="Chart" r:id="rId44" imgW="1476277" imgH="2657610" progId="MSGraph.Chart.8">
                  <p:embed followColorScheme="full"/>
                  <p:pic>
                    <p:nvPicPr>
                      <p:cNvPr id="0" name="Picture 55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6300" y="2057399"/>
                        <a:ext cx="1476277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hteck 94"/>
          <p:cNvSpPr/>
          <p:nvPr>
            <p:custDataLst>
              <p:tags r:id="rId20"/>
            </p:custDataLst>
          </p:nvPr>
        </p:nvSpPr>
        <p:spPr bwMode="gray">
          <a:xfrm>
            <a:off x="4914900" y="199390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EC24CE8C-EBAD-4E74-9832-03EC2EBB97B3}" type="datetime'''7''''''''''''''''0'''''''',''''6''''''''''''''''''''%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70,6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chteck 95"/>
          <p:cNvSpPr/>
          <p:nvPr>
            <p:custDataLst>
              <p:tags r:id="rId21"/>
            </p:custDataLst>
          </p:nvPr>
        </p:nvSpPr>
        <p:spPr bwMode="gray">
          <a:xfrm>
            <a:off x="5543550" y="2079625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E164A131-E577-42B7-A24B-883496C7BFE8}" type="datetime'''''''''''''6''''8'''''',''''2''''''''%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68,2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chteck 72"/>
          <p:cNvSpPr/>
          <p:nvPr>
            <p:custDataLst>
              <p:tags r:id="rId22"/>
            </p:custDataLst>
          </p:nvPr>
        </p:nvSpPr>
        <p:spPr bwMode="auto">
          <a:xfrm>
            <a:off x="4818063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78562C74-B856-420E-B79C-24CD4AC94EE8}" type="datetime'2. Im''p''f''u''n''g ''''i''rge''''''''''n''''''d''wa''n''n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chteck 69"/>
          <p:cNvSpPr/>
          <p:nvPr>
            <p:custDataLst>
              <p:tags r:id="rId23"/>
            </p:custDataLst>
          </p:nvPr>
        </p:nvSpPr>
        <p:spPr bwMode="auto">
          <a:xfrm>
            <a:off x="5424488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A5FAF2B6-89B6-4DCD-B9DA-F5FEE5A22A5A}" type="datetime''' 2. Imp''fun''g ''''inn''''er''h. Tol''e''''ranz''ze''it ''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74" name="Objekt 73"/>
          <p:cNvGraphicFramePr>
            <a:graphicFrameLocks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9501789"/>
              </p:ext>
            </p:extLst>
          </p:nvPr>
        </p:nvGraphicFramePr>
        <p:xfrm>
          <a:off x="6096000" y="2057399"/>
          <a:ext cx="1466822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Chart" r:id="rId46" imgW="1466822" imgH="2657610" progId="MSGraph.Chart.8">
                  <p:embed followColorScheme="full"/>
                </p:oleObj>
              </mc:Choice>
              <mc:Fallback>
                <p:oleObj name="Chart" r:id="rId46" imgW="1466822" imgH="2657610" progId="MSGraph.Chart.8">
                  <p:embed followColorScheme="full"/>
                  <p:pic>
                    <p:nvPicPr>
                      <p:cNvPr id="0" name="Picture 56"/>
                      <p:cNvPicPr>
                        <a:picLocks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00" y="2057399"/>
                        <a:ext cx="1466822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hteck 74"/>
          <p:cNvSpPr/>
          <p:nvPr>
            <p:custDataLst>
              <p:tags r:id="rId25"/>
            </p:custDataLst>
          </p:nvPr>
        </p:nvSpPr>
        <p:spPr bwMode="auto">
          <a:xfrm>
            <a:off x="6834188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BFB5B396-F393-4882-A729-01DC86842F21}" type="datetime' 2. ''Impfun''''''''g i''''nner''h.'' ''''Toleranzzei''t'' ''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chteck 97"/>
          <p:cNvSpPr/>
          <p:nvPr>
            <p:custDataLst>
              <p:tags r:id="rId26"/>
            </p:custDataLst>
          </p:nvPr>
        </p:nvSpPr>
        <p:spPr bwMode="gray">
          <a:xfrm>
            <a:off x="6953250" y="2555875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9A3F5C49-4769-4E8D-919E-2D6EF5BC1E5D}" type="datetime'''5''''''''''''''''4'',''''''''''''3''''''''''''''''%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4,3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Rechteck 77"/>
          <p:cNvSpPr/>
          <p:nvPr>
            <p:custDataLst>
              <p:tags r:id="rId27"/>
            </p:custDataLst>
          </p:nvPr>
        </p:nvSpPr>
        <p:spPr bwMode="auto">
          <a:xfrm>
            <a:off x="6227763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993689D0-3469-4EF5-BD4A-6A00D7C029F2}" type="datetime'''''''2''.'' ''I''mp''fun''''g irge''''''''n''d''''w''a''nn''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7" name="Rechteck 96"/>
          <p:cNvSpPr/>
          <p:nvPr>
            <p:custDataLst>
              <p:tags r:id="rId28"/>
            </p:custDataLst>
          </p:nvPr>
        </p:nvSpPr>
        <p:spPr bwMode="gray">
          <a:xfrm>
            <a:off x="6324600" y="250825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FC28170B-BA54-45BD-94B6-147F72334A06}" type="datetime'''''''''''''''''''''55'''''''',''7''%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5,7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79" name="Objekt 78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96579103"/>
              </p:ext>
            </p:extLst>
          </p:nvPr>
        </p:nvGraphicFramePr>
        <p:xfrm>
          <a:off x="7467600" y="2057399"/>
          <a:ext cx="1466822" cy="2657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Chart" r:id="rId48" imgW="1466822" imgH="2657610" progId="MSGraph.Chart.8">
                  <p:embed followColorScheme="full"/>
                </p:oleObj>
              </mc:Choice>
              <mc:Fallback>
                <p:oleObj name="Chart" r:id="rId48" imgW="1466822" imgH="2657610" progId="MSGraph.Chart.8">
                  <p:embed followColorScheme="full"/>
                  <p:pic>
                    <p:nvPicPr>
                      <p:cNvPr id="0" name="Picture 57"/>
                      <p:cNvPicPr>
                        <a:picLocks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67600" y="2057399"/>
                        <a:ext cx="1466822" cy="2657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hteck 82"/>
          <p:cNvSpPr/>
          <p:nvPr>
            <p:custDataLst>
              <p:tags r:id="rId30"/>
            </p:custDataLst>
          </p:nvPr>
        </p:nvSpPr>
        <p:spPr bwMode="auto">
          <a:xfrm>
            <a:off x="7618413" y="4668838"/>
            <a:ext cx="584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1F3DB81-4E32-4835-85B7-08A51D81BB39}" type="datetime'''2''. Impfun''''''''''''g'''' ''''irge''''''n''''dwan''''''n'">
              <a:rPr lang="de-DE" altLang="en-US" sz="800" b="1">
                <a:solidFill>
                  <a:schemeClr val="tx1"/>
                </a:solidFill>
              </a:rPr>
              <a:pPr algn="ctr"/>
              <a:t>2. Impfung irgendwann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0" name="Rechteck 99"/>
          <p:cNvSpPr/>
          <p:nvPr>
            <p:custDataLst>
              <p:tags r:id="rId31"/>
            </p:custDataLst>
          </p:nvPr>
        </p:nvSpPr>
        <p:spPr bwMode="gray">
          <a:xfrm>
            <a:off x="8329613" y="254635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31671654-E96A-448F-B50C-7A79634B8B2F}" type="datetime'''''''''54'''''''''''''''''''''''',''''7''''''%''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4,7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0" name="Rechteck 79"/>
          <p:cNvSpPr/>
          <p:nvPr>
            <p:custDataLst>
              <p:tags r:id="rId32"/>
            </p:custDataLst>
          </p:nvPr>
        </p:nvSpPr>
        <p:spPr bwMode="auto">
          <a:xfrm>
            <a:off x="8210550" y="4668838"/>
            <a:ext cx="6302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9267B51A-CDB4-4A13-B6CC-E9B98BDB5A48}" type="datetime''' ''2. ''''''I''m''pfung'' inn''erh. Tol''era''nzze''it '">
              <a:rPr lang="de-DE" altLang="en-US" sz="800" b="1">
                <a:solidFill>
                  <a:schemeClr val="tx1"/>
                </a:solidFill>
              </a:rPr>
              <a:pPr algn="ctr"/>
              <a:t> 2. Impfung innerh. Toleranzzeit </a:t>
            </a:fld>
            <a:endParaRPr lang="de-DE" sz="800" b="1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9" name="Rechteck 98"/>
          <p:cNvSpPr/>
          <p:nvPr>
            <p:custDataLst>
              <p:tags r:id="rId33"/>
            </p:custDataLst>
          </p:nvPr>
        </p:nvSpPr>
        <p:spPr bwMode="gray">
          <a:xfrm>
            <a:off x="7715250" y="2489200"/>
            <a:ext cx="392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E3B494AB-B358-4B52-9CD6-2E903C1D5664}" type="datetime'''5''''''6'''''''''''''''''''''',''2%'''''''''''''''''''''">
              <a:rPr lang="de-DE" altLang="en-US" sz="1000">
                <a:solidFill>
                  <a:schemeClr val="tx1"/>
                </a:solidFill>
                <a:sym typeface="+mn-lt"/>
              </a:rPr>
              <a:pPr algn="ctr"/>
              <a:t>56,2%</a:t>
            </a:fld>
            <a:endParaRPr lang="de-DE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ctangle 2"/>
          <p:cNvSpPr>
            <a:spLocks noChangeArrowheads="1"/>
          </p:cNvSpPr>
          <p:nvPr/>
        </p:nvSpPr>
        <p:spPr bwMode="auto">
          <a:xfrm>
            <a:off x="1912938" y="5192713"/>
            <a:ext cx="1260000" cy="46756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5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1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Allgemeinärzte</a:t>
            </a:r>
            <a:endParaRPr lang="de-DE" sz="11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91" name="Rectangle 2"/>
          <p:cNvSpPr>
            <a:spLocks noChangeArrowheads="1"/>
          </p:cNvSpPr>
          <p:nvPr/>
        </p:nvSpPr>
        <p:spPr bwMode="auto">
          <a:xfrm>
            <a:off x="3306763" y="5192713"/>
            <a:ext cx="1260000" cy="46756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5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1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Kinder- und</a:t>
            </a:r>
          </a:p>
          <a:p>
            <a:pPr algn="ctr"/>
            <a:r>
              <a:rPr lang="de-DE" sz="11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Jugendärzte</a:t>
            </a:r>
            <a:endParaRPr lang="de-DE" sz="11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92" name="Rectangle 2"/>
          <p:cNvSpPr>
            <a:spLocks noChangeArrowheads="1"/>
          </p:cNvSpPr>
          <p:nvPr/>
        </p:nvSpPr>
        <p:spPr bwMode="auto">
          <a:xfrm>
            <a:off x="4800600" y="5192713"/>
            <a:ext cx="1260000" cy="46756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100" b="1" dirty="0">
                <a:solidFill>
                  <a:schemeClr val="accent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&lt; 18 </a:t>
            </a:r>
            <a:r>
              <a:rPr lang="de-DE" sz="11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Jahre</a:t>
            </a:r>
            <a:endParaRPr lang="de-DE" sz="1100" b="1" dirty="0">
              <a:solidFill>
                <a:schemeClr val="accent3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93" name="Rectangle 2"/>
          <p:cNvSpPr>
            <a:spLocks noChangeArrowheads="1"/>
          </p:cNvSpPr>
          <p:nvPr/>
        </p:nvSpPr>
        <p:spPr bwMode="auto">
          <a:xfrm>
            <a:off x="6203157" y="5192713"/>
            <a:ext cx="1260000" cy="46756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1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18-30 Jahre</a:t>
            </a:r>
            <a:endParaRPr lang="de-DE" sz="1100" b="1" dirty="0">
              <a:solidFill>
                <a:schemeClr val="accent3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94" name="Rectangle 2"/>
          <p:cNvSpPr>
            <a:spLocks noChangeArrowheads="1"/>
          </p:cNvSpPr>
          <p:nvPr/>
        </p:nvSpPr>
        <p:spPr bwMode="auto">
          <a:xfrm>
            <a:off x="7605713" y="5192713"/>
            <a:ext cx="1260000" cy="46756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100" b="1" dirty="0">
                <a:solidFill>
                  <a:schemeClr val="accent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&gt; </a:t>
            </a:r>
            <a:r>
              <a:rPr lang="de-DE" sz="1100" b="1" dirty="0" smtClean="0">
                <a:solidFill>
                  <a:schemeClr val="accent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30 Jahre</a:t>
            </a:r>
            <a:endParaRPr lang="de-DE" sz="1100" b="1" dirty="0">
              <a:solidFill>
                <a:schemeClr val="accent3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47" name="Text Box 54"/>
          <p:cNvSpPr txBox="1">
            <a:spLocks noChangeArrowheads="1"/>
          </p:cNvSpPr>
          <p:nvPr/>
        </p:nvSpPr>
        <p:spPr bwMode="auto">
          <a:xfrm>
            <a:off x="501650" y="5948462"/>
            <a:ext cx="818991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r>
              <a:rPr lang="de-DE" sz="1000" dirty="0">
                <a:latin typeface="Arial" pitchFamily="34" charset="0"/>
                <a:cs typeface="Arial" pitchFamily="34" charset="0"/>
              </a:rPr>
              <a:t>Quelle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: IMS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Disease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Analyzer</a:t>
            </a:r>
            <a:r>
              <a:rPr lang="de-DE" sz="1000" baseline="30000" dirty="0" smtClean="0">
                <a:latin typeface="Arial" pitchFamily="34" charset="0"/>
                <a:cs typeface="Arial" pitchFamily="34" charset="0"/>
              </a:rPr>
              <a:t>®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</a:t>
            </a: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21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FF&quot; g=&quot;D2&quot; b=&quot;92&quot;/&gt;&lt;m_nBrightness val=&quot;0&quot;/&gt;&lt;/elem&gt;&lt;elem m_fUsage=&quot;9.00000000000000022204E-01&quot;&gt;&lt;m_msothmcolidx val=&quot;0&quot;/&gt;&lt;m_rgb r=&quot;FF&quot; g=&quot;BB&quot; b=&quot;5B&quot;/&gt;&lt;m_nBrightness val=&quot;0&quot;/&gt;&lt;/elem&gt;&lt;elem m_fUsage=&quot;8.10000000000000053291E-01&quot;&gt;&lt;m_msothmcolidx val=&quot;0&quot;/&gt;&lt;m_rgb r=&quot;8D&quot; g=&quot;D5&quot; b=&quot;9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hJZq4tQHG.a91_iHmk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bviXkSCSFB.8bs9K_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igtrJlR4eA5v2RRAY9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1JKaOTmG06aygzQS1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EoJBYZTVq61TCLGFrE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8lXj6R8ScsquEAf3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Rj8M4oTzaoZff.4C3q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dLrHDaSLyDnFo3cQHC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09gXFHS9GovMaYe2Za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hrpvhR0.D8RH1ZlYd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POZa1.TouVQl1klKPU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V_8UKBSZ6AKIU_Eoiw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76DbKtRfSpWitE_yDB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_5VsZSROItDI4fw1v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4DXo49RvClJf8WYfiA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bU2niPRvqGiyO.PaXZ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ekYqNdQ4S54ZxDJc7f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RPCEipRriEdrroCBBc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aFGI69SxW_EfncEeXD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Kf502T6i2sZ_0GZgl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tzhGkYT.SsfBBTHlte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._DTrQYO4OBV9zEab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BvqSY3QVmZNO3HV3lk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IqauHdScS0SON0qbMR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xBRzD.RyK0G_eXd9SB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PfS85MSteCkV9O2sT7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Al9aLHSwOucfFgxXLg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dpF9HnS4ajqtr1UpOe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cljkK_RFyWAKfNk9rT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T2YwymSG2ZCP2._Ut2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HOowmDRU2le8iElTtcLQ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C82D5F8D-5990-43AD-9773-5F11A17B5E5E}" vid="{4DE21E25-3D66-4AA0-ABD8-6B45E5AC90EC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92D05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92D050"/>
      </a:accent4>
      <a:accent5>
        <a:srgbClr val="43B649"/>
      </a:accent5>
      <a:accent6>
        <a:srgbClr val="6D2077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440ACABCAC364CA9C53918BAC7315F" ma:contentTypeVersion="2" ma:contentTypeDescription="Create a new document." ma:contentTypeScope="" ma:versionID="f887ad76b0f1b30cae385fbf7253bfc7">
  <xsd:schema xmlns:xsd="http://www.w3.org/2001/XMLSchema" xmlns:xs="http://www.w3.org/2001/XMLSchema" xmlns:p="http://schemas.microsoft.com/office/2006/metadata/properties" xmlns:ns2="7865648d-fa49-408f-a75f-39925f29e934" targetNamespace="http://schemas.microsoft.com/office/2006/metadata/properties" ma:root="true" ma:fieldsID="881539773ccdee32792afce379179b73" ns2:_="">
    <xsd:import namespace="7865648d-fa49-408f-a75f-39925f29e93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65648d-fa49-408f-a75f-39925f29e93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FDF899A6-EB46-4CF7-AFF5-00B43B134B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65648d-fa49-408f-a75f-39925f29e9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273E7C-77D6-439D-9953-67AAF9AE33C0}">
  <ds:schemaRefs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7865648d-fa49-408f-a75f-39925f29e93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9</Words>
  <Application>Microsoft Office PowerPoint</Application>
  <PresentationFormat>Bildschirmpräsentation (4:3)</PresentationFormat>
  <Paragraphs>3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Georgia</vt:lpstr>
      <vt:lpstr>Lucida Grande</vt:lpstr>
      <vt:lpstr>Quintiles_PPT_Template_11Mar15</vt:lpstr>
      <vt:lpstr>think-cell Folie</vt:lpstr>
      <vt:lpstr>Chart</vt:lpstr>
      <vt:lpstr>Patientenalter und Facharztausrichtung beeinflussen Compliance von Hepatitis A-Impfungen</vt:lpstr>
    </vt:vector>
  </TitlesOfParts>
  <Company>Quintil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ientenalter und Facharztausrichtung beeinflussen Compliance von Hepatitis A-Impfungen</dc:title>
  <dc:creator>Dirk Pabst</dc:creator>
  <cp:lastModifiedBy>Nadine Dippel</cp:lastModifiedBy>
  <cp:revision>8</cp:revision>
  <dcterms:created xsi:type="dcterms:W3CDTF">2017-07-05T07:02:15Z</dcterms:created>
  <dcterms:modified xsi:type="dcterms:W3CDTF">2017-08-17T09:3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440ACABCAC364CA9C53918BAC7315F</vt:lpwstr>
  </property>
</Properties>
</file>